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sldIdLst>
    <p:sldId id="256" r:id="rId2"/>
    <p:sldId id="258" r:id="rId3"/>
    <p:sldId id="262" r:id="rId4"/>
    <p:sldId id="260" r:id="rId5"/>
    <p:sldId id="263" r:id="rId6"/>
    <p:sldId id="261" r:id="rId7"/>
    <p:sldId id="264" r:id="rId8"/>
    <p:sldId id="257" r:id="rId9"/>
    <p:sldId id="265" r:id="rId10"/>
    <p:sldId id="259" r:id="rId11"/>
    <p:sldId id="266" r:id="rId12"/>
  </p:sldIdLst>
  <p:sldSz cx="9144000" cy="6858000" type="screen4x3"/>
  <p:notesSz cx="9309100" cy="7023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6">
          <p15:clr>
            <a:srgbClr val="A4A3A4"/>
          </p15:clr>
        </p15:guide>
        <p15:guide id="2" orient="horz" pos="2184">
          <p15:clr>
            <a:srgbClr val="A4A3A4"/>
          </p15:clr>
        </p15:guide>
        <p15:guide id="3" pos="1896">
          <p15:clr>
            <a:srgbClr val="A4A3A4"/>
          </p15:clr>
        </p15:guide>
        <p15:guide id="4" pos="3864">
          <p15:clr>
            <a:srgbClr val="A4A3A4"/>
          </p15:clr>
        </p15:guide>
        <p15:guide id="5" orient="horz" pos="432">
          <p15:clr>
            <a:srgbClr val="A4A3A4"/>
          </p15:clr>
        </p15:guide>
        <p15:guide id="6" orient="horz" pos="300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12">
          <p15:clr>
            <a:srgbClr val="A4A3A4"/>
          </p15:clr>
        </p15:guide>
        <p15:guide id="2" pos="29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AFF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029" autoAdjust="0"/>
    <p:restoredTop sz="94660"/>
  </p:normalViewPr>
  <p:slideViewPr>
    <p:cSldViewPr snapToGrid="0" showGuides="1">
      <p:cViewPr varScale="1">
        <p:scale>
          <a:sx n="82" d="100"/>
          <a:sy n="82" d="100"/>
        </p:scale>
        <p:origin x="1243" y="72"/>
      </p:cViewPr>
      <p:guideLst>
        <p:guide orient="horz" pos="1296"/>
        <p:guide orient="horz" pos="2184"/>
        <p:guide pos="1896"/>
        <p:guide pos="3864"/>
        <p:guide orient="horz" pos="432"/>
        <p:guide orient="horz" pos="300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>
        <p:guide orient="horz" pos="2212"/>
        <p:guide pos="293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11" Type="http://schemas.openxmlformats.org/officeDocument/2006/relationships/image" Target="../media/image5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4.png"/><Relationship Id="rId4" Type="http://schemas.openxmlformats.org/officeDocument/2006/relationships/tags" Target="../tags/tag8.xml"/><Relationship Id="rId9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10.xml"/><Relationship Id="rId7" Type="http://schemas.openxmlformats.org/officeDocument/2006/relationships/image" Target="../media/image8.png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D13A486-2D65-4F86-9F6D-CA326B857CE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9144000" cy="6424766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095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037019D0-A5ED-FD4B-AEE1-74EB27150FF0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512064" y="3710189"/>
            <a:ext cx="411480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05588"/>
                </a:solidFill>
                <a:effectLst/>
                <a:uLnTx/>
                <a:uFill>
                  <a:solidFill>
                    <a:schemeClr val="accent2"/>
                  </a:solidFill>
                </a:uFill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DAB146-7CA5-3045-9FD9-49A2E4FAFDC1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12064" y="5631866"/>
            <a:ext cx="4114800" cy="577500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63A92B1-D1A7-664F-A000-1B6F86196BC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419273"/>
            <a:ext cx="9144000" cy="43872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9395865E-24F0-4C4A-A9F7-9FE1D08AEA7F}"/>
              </a:ext>
            </a:extLst>
          </p:cNvPr>
          <p:cNvSpPr/>
          <p:nvPr/>
        </p:nvSpPr>
        <p:spPr>
          <a:xfrm>
            <a:off x="-721479" y="1015705"/>
            <a:ext cx="45719" cy="541939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905419F-79CA-41BD-8D1E-58469985F3F5}"/>
              </a:ext>
            </a:extLst>
          </p:cNvPr>
          <p:cNvSpPr/>
          <p:nvPr/>
        </p:nvSpPr>
        <p:spPr>
          <a:xfrm>
            <a:off x="5302213" y="999875"/>
            <a:ext cx="45719" cy="541939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8787F34-011E-4180-9FE8-60E2F75ECCE4}"/>
              </a:ext>
            </a:extLst>
          </p:cNvPr>
          <p:cNvGrpSpPr/>
          <p:nvPr/>
        </p:nvGrpSpPr>
        <p:grpSpPr>
          <a:xfrm>
            <a:off x="5336717" y="-8313"/>
            <a:ext cx="3807283" cy="6432134"/>
            <a:chOff x="5336717" y="-8313"/>
            <a:chExt cx="3807283" cy="6432134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B85345D9-709E-4C88-859F-E151D31EC90E}"/>
                </a:ext>
              </a:extLst>
            </p:cNvPr>
            <p:cNvGrpSpPr/>
            <p:nvPr/>
          </p:nvGrpSpPr>
          <p:grpSpPr>
            <a:xfrm>
              <a:off x="5336717" y="999875"/>
              <a:ext cx="3807283" cy="5423946"/>
              <a:chOff x="5336717" y="999875"/>
              <a:chExt cx="3807283" cy="5423946"/>
            </a:xfrm>
          </p:grpSpPr>
          <p:pic>
            <p:nvPicPr>
              <p:cNvPr id="20" name="Content Placeholder 5">
                <a:extLst>
                  <a:ext uri="{FF2B5EF4-FFF2-40B4-BE49-F238E27FC236}">
                    <a16:creationId xmlns:a16="http://schemas.microsoft.com/office/drawing/2014/main" id="{0AAE4957-2311-4A5B-B654-D77995E54D3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41199" t="16593" r="18774" b="7565"/>
              <a:stretch/>
            </p:blipFill>
            <p:spPr>
              <a:xfrm>
                <a:off x="5336717" y="999875"/>
                <a:ext cx="3807283" cy="5421672"/>
              </a:xfrm>
              <a:prstGeom prst="rect">
                <a:avLst/>
              </a:prstGeom>
            </p:spPr>
          </p:pic>
          <p:sp>
            <p:nvSpPr>
              <p:cNvPr id="21" name="Right Triangle 20">
                <a:extLst>
                  <a:ext uri="{FF2B5EF4-FFF2-40B4-BE49-F238E27FC236}">
                    <a16:creationId xmlns:a16="http://schemas.microsoft.com/office/drawing/2014/main" id="{6B1C5B7A-7D3B-49D9-BC9C-25E66A13CA41}"/>
                  </a:ext>
                </a:extLst>
              </p:cNvPr>
              <p:cNvSpPr/>
              <p:nvPr/>
            </p:nvSpPr>
            <p:spPr>
              <a:xfrm rot="10800000" flipH="1">
                <a:off x="5336717" y="1002149"/>
                <a:ext cx="1455990" cy="5421672"/>
              </a:xfrm>
              <a:prstGeom prst="rtTriangle">
                <a:avLst/>
              </a:prstGeom>
              <a:solidFill>
                <a:srgbClr val="E6E6E6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1200" dirty="0" err="1">
                  <a:latin typeface="Arial" pitchFamily="34" charset="0"/>
                  <a:cs typeface="Arial" pitchFamily="34" charset="0"/>
                </a:endParaRPr>
              </a:p>
            </p:txBody>
          </p:sp>
        </p:grp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C9F4AAE1-5A77-41BA-808A-592D4B25A2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11496"/>
            <a:stretch/>
          </p:blipFill>
          <p:spPr>
            <a:xfrm>
              <a:off x="7056120" y="-8313"/>
              <a:ext cx="2086609" cy="1024018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0F57671B-E708-4E84-9AFF-F5E105964B6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 rot="889043">
              <a:off x="6913075" y="26837"/>
              <a:ext cx="383129" cy="1124925"/>
            </a:xfrm>
            <a:prstGeom prst="rect">
              <a:avLst/>
            </a:prstGeom>
          </p:spPr>
        </p:pic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201C6FCC-EF40-4937-B97D-B5983580F105}"/>
              </a:ext>
            </a:extLst>
          </p:cNvPr>
          <p:cNvSpPr/>
          <p:nvPr/>
        </p:nvSpPr>
        <p:spPr>
          <a:xfrm>
            <a:off x="5131308" y="994381"/>
            <a:ext cx="209004" cy="5419398"/>
          </a:xfrm>
          <a:prstGeom prst="rect">
            <a:avLst/>
          </a:prstGeom>
          <a:solidFill>
            <a:srgbClr val="E6E6E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34D233-F816-4033-80D8-96226F7F1A4D}"/>
              </a:ext>
            </a:extLst>
          </p:cNvPr>
          <p:cNvSpPr txBox="1"/>
          <p:nvPr/>
        </p:nvSpPr>
        <p:spPr>
          <a:xfrm>
            <a:off x="416653" y="5225182"/>
            <a:ext cx="36640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rPr>
              <a:t>Pavement Analysis &amp; Design – MNT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E54B812-2722-0744-9345-3F01F6ADAB30}"/>
              </a:ext>
            </a:extLst>
          </p:cNvPr>
          <p:cNvSpPr/>
          <p:nvPr/>
        </p:nvSpPr>
        <p:spPr>
          <a:xfrm>
            <a:off x="0" y="-9144"/>
            <a:ext cx="9144000" cy="630936"/>
          </a:xfrm>
          <a:prstGeom prst="rect">
            <a:avLst/>
          </a:prstGeom>
          <a:solidFill>
            <a:srgbClr val="D0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3678" y="109728"/>
            <a:ext cx="8353424" cy="40011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0537349-7310-B044-851F-0CE3F0D0F09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lum bright="100000" contrast="-100000"/>
            <a:alphaModFix amt="7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8890" y="100584"/>
            <a:ext cx="578612" cy="40589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F4A7728-080A-084F-9574-95AC715091D2}"/>
              </a:ext>
            </a:extLst>
          </p:cNvPr>
          <p:cNvSpPr/>
          <p:nvPr/>
        </p:nvSpPr>
        <p:spPr>
          <a:xfrm>
            <a:off x="0" y="-7089"/>
            <a:ext cx="9144000" cy="630936"/>
          </a:xfrm>
          <a:prstGeom prst="rect">
            <a:avLst/>
          </a:prstGeom>
          <a:solidFill>
            <a:srgbClr val="D0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3678" y="109728"/>
            <a:ext cx="8353424" cy="40011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620133-B656-3B44-AD89-AC6A20B509E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lum bright="100000" contrast="-100000"/>
            <a:alphaModFix amt="7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8890" y="100584"/>
            <a:ext cx="578612" cy="40589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F4A7728-080A-084F-9574-95AC715091D2}"/>
              </a:ext>
            </a:extLst>
          </p:cNvPr>
          <p:cNvSpPr/>
          <p:nvPr/>
        </p:nvSpPr>
        <p:spPr>
          <a:xfrm>
            <a:off x="0" y="-7089"/>
            <a:ext cx="9144000" cy="630936"/>
          </a:xfrm>
          <a:prstGeom prst="rect">
            <a:avLst/>
          </a:prstGeom>
          <a:solidFill>
            <a:srgbClr val="D0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3678" y="109728"/>
            <a:ext cx="8353424" cy="40011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620133-B656-3B44-AD89-AC6A20B509E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lum bright="100000" contrast="-100000"/>
            <a:alphaModFix amt="7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8890" y="100584"/>
            <a:ext cx="578612" cy="40589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4D7A2B1-11A2-4FF7-AC22-B568E92CFCEB}"/>
              </a:ext>
            </a:extLst>
          </p:cNvPr>
          <p:cNvSpPr/>
          <p:nvPr userDrawn="1"/>
        </p:nvSpPr>
        <p:spPr>
          <a:xfrm>
            <a:off x="0" y="623847"/>
            <a:ext cx="120073" cy="5776953"/>
          </a:xfrm>
          <a:prstGeom prst="rect">
            <a:avLst/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04228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bg>
      <p:bgPr>
        <a:solidFill>
          <a:srgbClr val="FAFF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F4A7728-080A-084F-9574-95AC715091D2}"/>
              </a:ext>
            </a:extLst>
          </p:cNvPr>
          <p:cNvSpPr/>
          <p:nvPr/>
        </p:nvSpPr>
        <p:spPr>
          <a:xfrm>
            <a:off x="0" y="-7089"/>
            <a:ext cx="9144000" cy="630936"/>
          </a:xfrm>
          <a:prstGeom prst="rect">
            <a:avLst/>
          </a:prstGeom>
          <a:solidFill>
            <a:srgbClr val="D0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3678" y="109728"/>
            <a:ext cx="8353424" cy="40011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620133-B656-3B44-AD89-AC6A20B509E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lum bright="100000" contrast="-100000"/>
            <a:alphaModFix amt="7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8890" y="100584"/>
            <a:ext cx="578612" cy="40589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4D7A2B1-11A2-4FF7-AC22-B568E92CFCEB}"/>
              </a:ext>
            </a:extLst>
          </p:cNvPr>
          <p:cNvSpPr/>
          <p:nvPr userDrawn="1"/>
        </p:nvSpPr>
        <p:spPr>
          <a:xfrm>
            <a:off x="0" y="623847"/>
            <a:ext cx="120073" cy="5776953"/>
          </a:xfrm>
          <a:prstGeom prst="rect">
            <a:avLst/>
          </a:prstGeom>
          <a:solidFill>
            <a:srgbClr val="FFFF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60255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Z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03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2">
            <a:extLst>
              <a:ext uri="{FF2B5EF4-FFF2-40B4-BE49-F238E27FC236}">
                <a16:creationId xmlns:a16="http://schemas.microsoft.com/office/drawing/2014/main" id="{514B2B9B-2570-264C-BAED-5407D10DB918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512064" y="5273647"/>
            <a:ext cx="4114800" cy="577500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6D866CA-770E-EB46-B6FB-B0DE0FE76647}"/>
              </a:ext>
            </a:extLst>
          </p:cNvPr>
          <p:cNvCxnSpPr>
            <a:cxnSpLocks/>
          </p:cNvCxnSpPr>
          <p:nvPr/>
        </p:nvCxnSpPr>
        <p:spPr>
          <a:xfrm>
            <a:off x="512064" y="3610958"/>
            <a:ext cx="3213269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590D0FD4-44B9-404E-94CA-778F4818CB5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099"/>
          <a:stretch/>
        </p:blipFill>
        <p:spPr>
          <a:xfrm>
            <a:off x="3779520" y="721657"/>
            <a:ext cx="5289417" cy="498975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B5CEA37-4764-E447-A89D-FE7C6D8EDC3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064" y="2611869"/>
            <a:ext cx="2314257" cy="78138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15150FC-1BA2-5B46-A46B-9C65207B4C5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419273"/>
            <a:ext cx="9144000" cy="43872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187FC1F-648E-4A43-8B8A-BE6FF9DB826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314" y="6459063"/>
            <a:ext cx="2820447" cy="320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584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72"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253678" y="145235"/>
            <a:ext cx="8353424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253678" y="1056419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E572C71-5614-2A4D-8705-D1984E097A22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419273"/>
            <a:ext cx="9144000" cy="438727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D3AC596E-8233-6843-8073-142534F4642D}"/>
              </a:ext>
            </a:extLst>
          </p:cNvPr>
          <p:cNvSpPr txBox="1"/>
          <p:nvPr/>
        </p:nvSpPr>
        <p:spPr>
          <a:xfrm>
            <a:off x="256032" y="6419273"/>
            <a:ext cx="4267200" cy="43872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Franklin Gothic Book" pitchFamily="34" charset="0"/>
              </a:rPr>
              <a:t>Pavement Analysis &amp; Design Branch – MN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32BB209-0D08-B14D-A32E-7ABCAB106375}"/>
              </a:ext>
            </a:extLst>
          </p:cNvPr>
          <p:cNvSpPr txBox="1"/>
          <p:nvPr/>
        </p:nvSpPr>
        <p:spPr>
          <a:xfrm>
            <a:off x="6995880" y="6419273"/>
            <a:ext cx="1634889" cy="42831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CAAFC295-E4AC-D34C-A518-2E03C6EB7786}" type="datetime4">
              <a:rPr lang="en-US" sz="1200" smtClean="0">
                <a:solidFill>
                  <a:schemeClr val="bg1"/>
                </a:solidFill>
                <a:latin typeface="Franklin Gothic Book" pitchFamily="34" charset="0"/>
              </a:rPr>
              <a:t>November 9, 2021</a:t>
            </a:fld>
            <a:endParaRPr lang="en-US" sz="1200" dirty="0">
              <a:solidFill>
                <a:schemeClr val="bg1"/>
              </a:solidFill>
              <a:latin typeface="Franklin Gothic Book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25718C2-23D1-49B6-A078-B09A0CE74EB4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886826" y="6556248"/>
            <a:ext cx="257175" cy="177300"/>
          </a:xfrm>
          <a:prstGeom prst="rect">
            <a:avLst/>
          </a:prstGeom>
          <a:solidFill>
            <a:srgbClr val="0B1F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5E3FF44-788D-4C79-AD4C-9A6777E7A29E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8870950" y="6574536"/>
            <a:ext cx="211057" cy="1406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buNone/>
              <a:def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Arial" pitchFamily="34" charset="0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0" r:id="rId2"/>
    <p:sldLayoutId id="2147483654" r:id="rId3"/>
    <p:sldLayoutId id="2147483662" r:id="rId4"/>
    <p:sldLayoutId id="2147483663" r:id="rId5"/>
    <p:sldLayoutId id="2147483661" r:id="rId6"/>
  </p:sldLayoutIdLst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000" b="0" kern="1200" dirty="0" smtClean="0">
          <a:solidFill>
            <a:srgbClr val="205588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Wingdings" pitchFamily="2" charset="2"/>
        <a:buChar char="§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Franklin Gothic Book" panose="020B0503020102020204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Arial" pitchFamily="34" charset="0"/>
        <a:buChar char="•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Franklin Gothic Book" panose="020B0503020102020204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Arial" pitchFamily="34" charset="0"/>
        <a:buChar char="»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microsoft.com/office/2007/relationships/media" Target="../media/media1.mp4"/><Relationship Id="rId1" Type="http://schemas.openxmlformats.org/officeDocument/2006/relationships/video" Target="NULL" TargetMode="Externa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microsoft.com/office/2007/relationships/media" Target="../media/media2.mp4"/><Relationship Id="rId1" Type="http://schemas.openxmlformats.org/officeDocument/2006/relationships/video" Target="NULL" TargetMode="External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EFE8F0-706A-460E-B1DE-41F91392FF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xCRCP-ME Interface Review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CEBD5E1-16C8-48DF-A221-AEDDC3EC02E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85276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1A5D56-3366-45A3-A71A-CB01BD86C0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9728"/>
            <a:ext cx="8353424" cy="400110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dirty="0"/>
              <a:t>Major Issue – Design Thickness Increment should be a 0.5-in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EC29187-59ED-458C-B557-1E1A4EB713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542" y="750026"/>
            <a:ext cx="4575542" cy="278561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32CEDA8-4EB2-4DAA-80B6-0594F2004D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750026"/>
            <a:ext cx="4572000" cy="272225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DD7C7E2-F07D-40C2-A1D0-FFDE4BCC3D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58977" y="3533248"/>
            <a:ext cx="4572965" cy="2722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452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C2E9F63-122D-4293-888C-84B253AB8E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xed: Design Thickness Increment should be a 0.5-in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02757B4-F09C-48A6-90C9-F92FBB2609F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163" t="1820" b="1413"/>
          <a:stretch/>
        </p:blipFill>
        <p:spPr>
          <a:xfrm>
            <a:off x="970384" y="718457"/>
            <a:ext cx="6919156" cy="5421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20830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9CFE92-785A-496E-9643-ABFE5B0A79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B146642-4944-49ED-A5C1-50A6D3988E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11659"/>
            <a:ext cx="9144000" cy="5634681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BD28E39C-ADAE-4586-8456-4D959F52D498}"/>
              </a:ext>
            </a:extLst>
          </p:cNvPr>
          <p:cNvCxnSpPr/>
          <p:nvPr/>
        </p:nvCxnSpPr>
        <p:spPr>
          <a:xfrm>
            <a:off x="5765074" y="2987040"/>
            <a:ext cx="0" cy="16633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69421C66-BA88-41AE-ABC6-3AD9D7D006EA}"/>
              </a:ext>
            </a:extLst>
          </p:cNvPr>
          <p:cNvSpPr txBox="1"/>
          <p:nvPr/>
        </p:nvSpPr>
        <p:spPr>
          <a:xfrm>
            <a:off x="6775269" y="4511877"/>
            <a:ext cx="19245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highlight>
                  <a:srgbClr val="FFFF00"/>
                </a:highlight>
              </a:rPr>
              <a:t>Suddenly popped up</a:t>
            </a:r>
          </a:p>
        </p:txBody>
      </p:sp>
    </p:spTree>
    <p:extLst>
      <p:ext uri="{BB962C8B-B14F-4D97-AF65-F5344CB8AC3E}">
        <p14:creationId xmlns:p14="http://schemas.microsoft.com/office/powerpoint/2010/main" val="35321764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00097D9-EA21-48B4-AC87-869E80F97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xed: not fill Base layer thickness until choose Base type</a:t>
            </a:r>
          </a:p>
        </p:txBody>
      </p:sp>
      <p:pic>
        <p:nvPicPr>
          <p:cNvPr id="5" name="Screen Recording 4">
            <a:hlinkClick r:id="" action="ppaction://media"/>
            <a:extLst>
              <a:ext uri="{FF2B5EF4-FFF2-40B4-BE49-F238E27FC236}">
                <a16:creationId xmlns:a16="http://schemas.microsoft.com/office/drawing/2014/main" id="{6F9D837E-7345-4FDF-A4FE-70D275B96745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st="3826"/>
                </p14:media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58620" y="1194173"/>
            <a:ext cx="8985380" cy="5180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6736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634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FD9356-2092-4E3C-AABF-0B9253E4B6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D00EC4B-3DF9-42CE-A1D3-225BF67206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23626"/>
            <a:ext cx="9144000" cy="5410748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560B5519-DD69-4698-9417-335FBDA81F6B}"/>
              </a:ext>
            </a:extLst>
          </p:cNvPr>
          <p:cNvSpPr/>
          <p:nvPr/>
        </p:nvSpPr>
        <p:spPr>
          <a:xfrm>
            <a:off x="3640183" y="4153989"/>
            <a:ext cx="1820091" cy="608511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31433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56DF2A-02CD-4D16-8245-63F54EAA45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nding: need information to fill in the pop up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38E8993-A5B7-4B7B-8455-9A97FEC451A0}"/>
              </a:ext>
            </a:extLst>
          </p:cNvPr>
          <p:cNvGrpSpPr/>
          <p:nvPr/>
        </p:nvGrpSpPr>
        <p:grpSpPr>
          <a:xfrm>
            <a:off x="975049" y="736804"/>
            <a:ext cx="7193901" cy="5384392"/>
            <a:chOff x="149291" y="1099953"/>
            <a:chExt cx="6223518" cy="4658093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91228E28-7328-4E9C-8F78-A87E6712CD4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9291" y="1099953"/>
              <a:ext cx="6223518" cy="4658093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4064951-F0D3-404A-999A-BDA51952DB1B}"/>
                </a:ext>
              </a:extLst>
            </p:cNvPr>
            <p:cNvSpPr txBox="1"/>
            <p:nvPr/>
          </p:nvSpPr>
          <p:spPr>
            <a:xfrm>
              <a:off x="1300126" y="4973217"/>
              <a:ext cx="4116224" cy="2928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rgbClr val="FF0000"/>
                  </a:solidFill>
                </a:rPr>
                <a:t>Previous request not include information of pop up</a:t>
              </a:r>
            </a:p>
          </p:txBody>
        </p:sp>
        <p:sp>
          <p:nvSpPr>
            <p:cNvPr id="8" name="Arrow: Down 7">
              <a:extLst>
                <a:ext uri="{FF2B5EF4-FFF2-40B4-BE49-F238E27FC236}">
                  <a16:creationId xmlns:a16="http://schemas.microsoft.com/office/drawing/2014/main" id="{C02591E1-AD72-4871-AFA6-449E34786E67}"/>
                </a:ext>
              </a:extLst>
            </p:cNvPr>
            <p:cNvSpPr/>
            <p:nvPr/>
          </p:nvSpPr>
          <p:spPr>
            <a:xfrm rot="10800000">
              <a:off x="2864498" y="4152122"/>
              <a:ext cx="149290" cy="821094"/>
            </a:xfrm>
            <a:prstGeom prst="downArrow">
              <a:avLst/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09466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A9B994-6BDC-4F61-9521-BDAE8AC9A8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dirty="0"/>
              <a:t>Should be Popped Up and Stay (high resolution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5E6366-79B9-4E9F-8247-960947DA086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0475" t="14191" r="10763" b="21809"/>
          <a:stretch/>
        </p:blipFill>
        <p:spPr>
          <a:xfrm>
            <a:off x="263479" y="770708"/>
            <a:ext cx="8617041" cy="539278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45F48F0-10C0-4B4A-85FE-788920A998DC}"/>
              </a:ext>
            </a:extLst>
          </p:cNvPr>
          <p:cNvSpPr/>
          <p:nvPr/>
        </p:nvSpPr>
        <p:spPr>
          <a:xfrm>
            <a:off x="2778034" y="3429000"/>
            <a:ext cx="3570515" cy="218802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25277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E764BA4-FA9C-4238-9689-EF5FB8CC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xed: click to keep the popup stay, using higher resolution </a:t>
            </a:r>
          </a:p>
        </p:txBody>
      </p:sp>
      <p:pic>
        <p:nvPicPr>
          <p:cNvPr id="5" name="Screen Recording 4">
            <a:hlinkClick r:id="" action="ppaction://media"/>
            <a:extLst>
              <a:ext uri="{FF2B5EF4-FFF2-40B4-BE49-F238E27FC236}">
                <a16:creationId xmlns:a16="http://schemas.microsoft.com/office/drawing/2014/main" id="{9FDC43FC-BAAD-45ED-9ADE-50AFE64AC40C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st="476" end="0.7709"/>
                </p14:media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86612" y="899756"/>
            <a:ext cx="8957388" cy="5164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6763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644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6A697B9D-D40D-4E2A-A2F1-8F7B533ACE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600" y="113210"/>
            <a:ext cx="8897684" cy="664125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AF26D1F-5353-413A-8726-877C98BEB44E}"/>
              </a:ext>
            </a:extLst>
          </p:cNvPr>
          <p:cNvSpPr/>
          <p:nvPr/>
        </p:nvSpPr>
        <p:spPr>
          <a:xfrm>
            <a:off x="1741714" y="3561806"/>
            <a:ext cx="2542903" cy="32221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8D4AD5-12C7-4BB7-92C0-E74FE9B04050}"/>
              </a:ext>
            </a:extLst>
          </p:cNvPr>
          <p:cNvSpPr/>
          <p:nvPr/>
        </p:nvSpPr>
        <p:spPr>
          <a:xfrm>
            <a:off x="1741714" y="4688615"/>
            <a:ext cx="872899" cy="18097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D88350E-A368-4368-81CF-6FFCB84E38D6}"/>
              </a:ext>
            </a:extLst>
          </p:cNvPr>
          <p:cNvSpPr/>
          <p:nvPr/>
        </p:nvSpPr>
        <p:spPr>
          <a:xfrm>
            <a:off x="1741714" y="4998177"/>
            <a:ext cx="1268186" cy="18097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F8B0982-02F0-489D-848F-0024F97EA575}"/>
              </a:ext>
            </a:extLst>
          </p:cNvPr>
          <p:cNvSpPr txBox="1"/>
          <p:nvPr/>
        </p:nvSpPr>
        <p:spPr>
          <a:xfrm>
            <a:off x="2614613" y="4736260"/>
            <a:ext cx="17745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highlight>
                  <a:srgbClr val="FFFF00"/>
                </a:highlight>
              </a:rPr>
              <a:t>Subbase </a:t>
            </a:r>
            <a:r>
              <a:rPr lang="en-US" sz="1200" dirty="0">
                <a:highlight>
                  <a:srgbClr val="FFFF00"/>
                </a:highlight>
                <a:sym typeface="Wingdings" panose="05000000000000000000" pitchFamily="2" charset="2"/>
              </a:rPr>
              <a:t></a:t>
            </a:r>
            <a:r>
              <a:rPr lang="en-US" sz="1200" dirty="0">
                <a:highlight>
                  <a:srgbClr val="FFFF00"/>
                </a:highlight>
              </a:rPr>
              <a:t> Subgrad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32CB747-D674-490D-A82F-A8225D25FA4C}"/>
              </a:ext>
            </a:extLst>
          </p:cNvPr>
          <p:cNvSpPr txBox="1"/>
          <p:nvPr/>
        </p:nvSpPr>
        <p:spPr>
          <a:xfrm>
            <a:off x="1554164" y="2323717"/>
            <a:ext cx="3348036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>
                <a:highlight>
                  <a:srgbClr val="FFFF00"/>
                </a:highlight>
              </a:rPr>
              <a:t>Total Design Traffic in One Direction      100</a:t>
            </a:r>
          </a:p>
          <a:p>
            <a:r>
              <a:rPr lang="en-US" sz="1200" dirty="0">
                <a:highlight>
                  <a:srgbClr val="FFFF00"/>
                </a:highlight>
              </a:rPr>
              <a:t>(million ESALs)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83219949-FD6B-4FD1-8944-B27B15EC34A6}"/>
              </a:ext>
            </a:extLst>
          </p:cNvPr>
          <p:cNvCxnSpPr>
            <a:cxnSpLocks/>
          </p:cNvCxnSpPr>
          <p:nvPr/>
        </p:nvCxnSpPr>
        <p:spPr>
          <a:xfrm flipV="1">
            <a:off x="4284617" y="2785382"/>
            <a:ext cx="0" cy="7764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E06FA93-14C8-4AC3-9EEC-B3CADC103971}"/>
              </a:ext>
            </a:extLst>
          </p:cNvPr>
          <p:cNvCxnSpPr/>
          <p:nvPr/>
        </p:nvCxnSpPr>
        <p:spPr>
          <a:xfrm>
            <a:off x="3631474" y="3722914"/>
            <a:ext cx="374469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25119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D94D31F-EEEF-4EC5-A579-7DC24334F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xed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C6B16C4-FF83-405B-B912-6F6FDC6AB9D9}"/>
              </a:ext>
            </a:extLst>
          </p:cNvPr>
          <p:cNvGrpSpPr/>
          <p:nvPr/>
        </p:nvGrpSpPr>
        <p:grpSpPr>
          <a:xfrm>
            <a:off x="464004" y="819071"/>
            <a:ext cx="8353424" cy="5534992"/>
            <a:chOff x="0" y="509838"/>
            <a:chExt cx="9144000" cy="6058829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2F2E3997-35BB-4213-903B-84986D79239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509838"/>
              <a:ext cx="9144000" cy="6058829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0754C29-796C-4E27-838B-56A5AAEE27CC}"/>
                </a:ext>
              </a:extLst>
            </p:cNvPr>
            <p:cNvSpPr/>
            <p:nvPr/>
          </p:nvSpPr>
          <p:spPr>
            <a:xfrm>
              <a:off x="1660849" y="3429000"/>
              <a:ext cx="2043404" cy="40011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C8B89BD-A354-487E-A5B9-55C2BA919073}"/>
                </a:ext>
              </a:extLst>
            </p:cNvPr>
            <p:cNvSpPr/>
            <p:nvPr/>
          </p:nvSpPr>
          <p:spPr>
            <a:xfrm>
              <a:off x="1660849" y="4598723"/>
              <a:ext cx="606490" cy="40011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536812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NT-Rigid">
  <a:themeElements>
    <a:clrScheme name="Prefinal 5">
      <a:dk1>
        <a:srgbClr val="000000"/>
      </a:dk1>
      <a:lt1>
        <a:srgbClr val="FFFFFF"/>
      </a:lt1>
      <a:dk2>
        <a:srgbClr val="E2E7EB"/>
      </a:dk2>
      <a:lt2>
        <a:srgbClr val="F9EFE0"/>
      </a:lt2>
      <a:accent1>
        <a:srgbClr val="3869A2"/>
      </a:accent1>
      <a:accent2>
        <a:srgbClr val="0F3859"/>
      </a:accent2>
      <a:accent3>
        <a:srgbClr val="CC7B28"/>
      </a:accent3>
      <a:accent4>
        <a:srgbClr val="F4BC46"/>
      </a:accent4>
      <a:accent5>
        <a:srgbClr val="79A03F"/>
      </a:accent5>
      <a:accent6>
        <a:srgbClr val="247F74"/>
      </a:accent6>
      <a:hlink>
        <a:srgbClr val="042A45"/>
      </a:hlink>
      <a:folHlink>
        <a:srgbClr val="4D4D4D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9050">
          <a:solidFill>
            <a:srgbClr val="FF0000"/>
          </a:solidFill>
        </a:ln>
      </a:spPr>
      <a:bodyPr lIns="0" tIns="0" rIns="0" bIns="0"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NT-Rigid" id="{5B501ADB-1430-459A-9D3B-1F0FBEF4FC55}" vid="{B39EF4AC-2818-48B5-B754-9D8E944B721B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65</TotalTime>
  <Words>93</Words>
  <Application>Microsoft Office PowerPoint</Application>
  <PresentationFormat>On-screen Show (4:3)</PresentationFormat>
  <Paragraphs>13</Paragraphs>
  <Slides>11</Slides>
  <Notes>0</Notes>
  <HiddenSlides>0</HiddenSlides>
  <MMClips>2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Franklin Gothic Book</vt:lpstr>
      <vt:lpstr>Franklin Gothic Demi</vt:lpstr>
      <vt:lpstr>Franklin Gothic Medium Cond</vt:lpstr>
      <vt:lpstr>Wingdings</vt:lpstr>
      <vt:lpstr>MNT-Rigid</vt:lpstr>
      <vt:lpstr>think-cell Slide</vt:lpstr>
      <vt:lpstr>TxCRCP-ME Interface Review</vt:lpstr>
      <vt:lpstr>PowerPoint Presentation</vt:lpstr>
      <vt:lpstr>Fixed: not fill Base layer thickness until choose Base type</vt:lpstr>
      <vt:lpstr>PowerPoint Presentation</vt:lpstr>
      <vt:lpstr>Pending: need information to fill in the pop up</vt:lpstr>
      <vt:lpstr>Should be Popped Up and Stay (high resolution)</vt:lpstr>
      <vt:lpstr>Fixed: click to keep the popup stay, using higher resolution </vt:lpstr>
      <vt:lpstr>PowerPoint Presentation</vt:lpstr>
      <vt:lpstr>Fixed</vt:lpstr>
      <vt:lpstr>Major Issue – Design Thickness Increment should be a 0.5-in.</vt:lpstr>
      <vt:lpstr>Fixed: Design Thickness Increment should be a 0.5-in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n Gil Choi</dc:creator>
  <cp:lastModifiedBy>Nguyen, Ngan V T</cp:lastModifiedBy>
  <cp:revision>8</cp:revision>
  <dcterms:created xsi:type="dcterms:W3CDTF">2021-11-09T19:25:48Z</dcterms:created>
  <dcterms:modified xsi:type="dcterms:W3CDTF">2021-11-09T21:52:04Z</dcterms:modified>
</cp:coreProperties>
</file>